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65" r:id="rId7"/>
    <p:sldId id="751" r:id="rId8"/>
    <p:sldId id="739" r:id="rId9"/>
    <p:sldId id="742" r:id="rId10"/>
    <p:sldId id="740" r:id="rId11"/>
    <p:sldId id="741" r:id="rId12"/>
    <p:sldId id="743" r:id="rId13"/>
    <p:sldId id="780" r:id="rId14"/>
    <p:sldId id="746" r:id="rId15"/>
    <p:sldId id="767" r:id="rId16"/>
    <p:sldId id="764" r:id="rId17"/>
    <p:sldId id="758" r:id="rId18"/>
  </p:sldIdLst>
  <p:sldSz cx="12192000" cy="6858000"/>
  <p:notesSz cx="6797675" cy="9926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72C"/>
    <a:srgbClr val="FF9515"/>
    <a:srgbClr val="FBFBFB"/>
    <a:srgbClr val="008E22"/>
    <a:srgbClr val="797600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07" autoAdjust="0"/>
    <p:restoredTop sz="89771" autoAdjust="0"/>
  </p:normalViewPr>
  <p:slideViewPr>
    <p:cSldViewPr snapToGrid="0" showGuides="1">
      <p:cViewPr varScale="1">
        <p:scale>
          <a:sx n="102" d="100"/>
          <a:sy n="102" d="100"/>
        </p:scale>
        <p:origin x="80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68768768768769"/>
          <c:y val="0.13676470588235295"/>
          <c:w val="0.44624624624624626"/>
          <c:h val="0.768382352941176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470-4B29-BA49-402854AC9BE0}"/>
              </c:ext>
            </c:extLst>
          </c:dPt>
          <c:dLbls>
            <c:dLbl>
              <c:idx val="0"/>
              <c:layout>
                <c:manualLayout>
                  <c:x val="0"/>
                  <c:y val="-0.4235294117647058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470-4B29-BA49-402854AC9BE0}"/>
                </c:ext>
              </c:extLst>
            </c:dLbl>
            <c:dLbl>
              <c:idx val="1"/>
              <c:layout>
                <c:manualLayout>
                  <c:x val="0"/>
                  <c:y val="-0.42647058823529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470-4B29-BA49-402854AC9B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389.9</c:v>
                </c:pt>
                <c:pt idx="1">
                  <c:v>2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70-4B29-BA49-402854AC9B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8845680"/>
        <c:axId val="1"/>
      </c:barChart>
      <c:catAx>
        <c:axId val="728845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28845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410764872521244"/>
          <c:y val="7.3005093378607805E-2"/>
          <c:w val="0.29121813031161475"/>
          <c:h val="0.853989813242784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6977928692699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4CD-4015-8FCD-084CD2983A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31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CD-4015-8FCD-084CD2983A6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CD-4015-8FCD-084CD2983A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763016"/>
        <c:axId val="1"/>
      </c:barChart>
      <c:catAx>
        <c:axId val="772763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15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727630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7587131367292226"/>
          <c:y val="0.18883248730964466"/>
          <c:w val="0.24772117962466489"/>
          <c:h val="0.680203045685279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9543147208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D5-4F8C-8222-123EAC99DBE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247.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D5-4F8C-8222-123EAC99DB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9029768"/>
        <c:axId val="1"/>
      </c:barChart>
      <c:catAx>
        <c:axId val="989029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47.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89029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3047210300429186"/>
          <c:y val="0.27514792899408286"/>
          <c:w val="0.33819742489270388"/>
          <c:h val="0.534023668639053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20710059171597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C67-406C-9EAF-8AB1B1DE0E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67-406C-9EAF-8AB1B1DE0E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4117848"/>
        <c:axId val="1"/>
      </c:barChart>
      <c:catAx>
        <c:axId val="784117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84117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1554959785522788"/>
          <c:y val="0.19766206163655686"/>
          <c:w val="0.16836461126005361"/>
          <c:h val="0.66524973432518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1987247608926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7C7-4E95-908C-BAC74560A5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20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C7-4E95-908C-BAC74560A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0842984"/>
        <c:axId val="1"/>
      </c:barChart>
      <c:catAx>
        <c:axId val="600842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07.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00842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99781540142E-2"/>
          <c:y val="7.0108695652173911E-2"/>
          <c:w val="0.943200436919716"/>
          <c:h val="0.8597826086956521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783.4431239389814</c:v>
                </c:pt>
                <c:pt idx="1">
                  <c:v>891.72156196949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9F-40B3-89B4-5AE62906D124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119.4431239389814</c:v>
                </c:pt>
                <c:pt idx="1">
                  <c:v>891.72156196949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9F-40B3-89B4-5AE62906D124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1304347826086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99F-40B3-89B4-5AE62906D1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664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9F-40B3-89B4-5AE62906D1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13340144"/>
        <c:axId val="1"/>
      </c:barChart>
      <c:catAx>
        <c:axId val="513340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83.44312393898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13340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0.07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0.07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4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71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6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8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57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3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4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900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58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6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7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4811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5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8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0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2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5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1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4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91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6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1"/>
            <a:ext cx="9605964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7919" y="64724"/>
            <a:ext cx="1886630" cy="57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tags" Target="../tags/tag87.xml"/><Relationship Id="rId50" Type="http://schemas.openxmlformats.org/officeDocument/2006/relationships/oleObject" Target="../embeddings/oleObject27.bin"/><Relationship Id="rId55" Type="http://schemas.openxmlformats.org/officeDocument/2006/relationships/chart" Target="../charts/chart4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41" Type="http://schemas.openxmlformats.org/officeDocument/2006/relationships/tags" Target="../tags/tag81.xml"/><Relationship Id="rId54" Type="http://schemas.openxmlformats.org/officeDocument/2006/relationships/chart" Target="../charts/chart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53" Type="http://schemas.openxmlformats.org/officeDocument/2006/relationships/chart" Target="../charts/chart2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slideLayout" Target="../slideLayouts/slideLayout9.xml"/><Relationship Id="rId57" Type="http://schemas.openxmlformats.org/officeDocument/2006/relationships/chart" Target="../charts/chart6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chart" Target="../charts/chart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tags" Target="../tags/tag88.xml"/><Relationship Id="rId56" Type="http://schemas.openxmlformats.org/officeDocument/2006/relationships/chart" Target="../charts/chart5.xml"/><Relationship Id="rId8" Type="http://schemas.openxmlformats.org/officeDocument/2006/relationships/tags" Target="../tags/tag48.xml"/><Relationship Id="rId51" Type="http://schemas.openxmlformats.org/officeDocument/2006/relationships/image" Target="../media/image1.emf"/><Relationship Id="rId3" Type="http://schemas.openxmlformats.org/officeDocument/2006/relationships/tags" Target="../tags/tag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301390" cy="908050"/>
          </a:xfrm>
        </p:spPr>
        <p:txBody>
          <a:bodyPr/>
          <a:lstStyle/>
          <a:p>
            <a:r>
              <a:rPr lang="ru" sz="1600" dirty="0">
                <a:latin typeface="Arial" pitchFamily="34" charset="0"/>
                <a:cs typeface="Arial" pitchFamily="34" charset="0"/>
              </a:rPr>
              <a:t>«3-Энергоорталык», </a:t>
            </a:r>
            <a:r>
              <a:rPr lang="ru" sz="1600" dirty="0"/>
              <a:t>21 июля,</a:t>
            </a:r>
            <a:r>
              <a:rPr lang="ru-RU" sz="1600" dirty="0"/>
              <a:t> </a:t>
            </a:r>
            <a:r>
              <a:rPr lang="ru" sz="1600" dirty="0"/>
              <a:t>2026 </a:t>
            </a:r>
            <a:r>
              <a:rPr lang="en-US" sz="1600" dirty="0"/>
              <a:t>Kazakhstan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2805111"/>
          </a:xfrm>
        </p:spPr>
        <p:txBody>
          <a:bodyPr/>
          <a:lstStyle/>
          <a:p>
            <a:pPr lvl="0" defTabSz="914400"/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ТЧЕТ ПО ИТОГАМ ПОЛУГОДИЯ 2026 ГОДА ОБ ИСПОЛНЕНИИ УТВЕРЖДЕННЫХ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О «3-ЭНЕРГООРТАЛЫК»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ЕД ПОТРЕБИТЕЛЯМИ И ИНЫМИ ЗАИНТЕРЕСОВАННЫМИ ЛИЦАМИ</a:t>
            </a:r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pPr lvl="0" defTabSz="914400"/>
            <a:endParaRPr lang="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308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ГОСТы и СанПиНы: регламентируют параметры теплоносителя, температурные режимы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тепла 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тепла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одготовка и сертификация специалистов, работающих на объектах 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для ИТР, мастеров и операторов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83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16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7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121">
            <a:extLst>
              <a:ext uri="{FF2B5EF4-FFF2-40B4-BE49-F238E27FC236}">
                <a16:creationId xmlns:a16="http://schemas.microsoft.com/office/drawing/2014/main" id="{D4B2D1A2-7982-408A-A007-83E11C6DCB06}"/>
              </a:ext>
            </a:extLst>
          </p:cNvPr>
          <p:cNvSpPr/>
          <p:nvPr/>
        </p:nvSpPr>
        <p:spPr>
          <a:xfrm>
            <a:off x="8652702" y="1321945"/>
            <a:ext cx="216806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Rectangle 121">
            <a:extLst>
              <a:ext uri="{FF2B5EF4-FFF2-40B4-BE49-F238E27FC236}">
                <a16:creationId xmlns:a16="http://schemas.microsoft.com/office/drawing/2014/main" id="{A6D9115A-3C17-49AA-9A5F-94D437A29D64}"/>
              </a:ext>
            </a:extLst>
          </p:cNvPr>
          <p:cNvSpPr/>
          <p:nvPr/>
        </p:nvSpPr>
        <p:spPr>
          <a:xfrm>
            <a:off x="6306186" y="1313837"/>
            <a:ext cx="216806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4" name="Rectangle 118">
            <a:extLst>
              <a:ext uri="{FF2B5EF4-FFF2-40B4-BE49-F238E27FC236}">
                <a16:creationId xmlns:a16="http://schemas.microsoft.com/office/drawing/2014/main" id="{DF188EC7-C5D4-4A3F-9349-D77D3958626C}"/>
              </a:ext>
            </a:extLst>
          </p:cNvPr>
          <p:cNvSpPr/>
          <p:nvPr/>
        </p:nvSpPr>
        <p:spPr>
          <a:xfrm>
            <a:off x="6429052" y="2025692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>
                <a:solidFill>
                  <a:schemeClr val="tx1"/>
                </a:solidFill>
              </a:rPr>
              <a:t>2026 год</a:t>
            </a:r>
          </a:p>
        </p:txBody>
      </p:sp>
      <p:grpSp>
        <p:nvGrpSpPr>
          <p:cNvPr id="45" name="Group 3424">
            <a:extLst>
              <a:ext uri="{FF2B5EF4-FFF2-40B4-BE49-F238E27FC236}">
                <a16:creationId xmlns:a16="http://schemas.microsoft.com/office/drawing/2014/main" id="{0B6E1F47-4CE1-4D97-A5D2-D24104840976}"/>
              </a:ext>
            </a:extLst>
          </p:cNvPr>
          <p:cNvGrpSpPr/>
          <p:nvPr/>
        </p:nvGrpSpPr>
        <p:grpSpPr>
          <a:xfrm>
            <a:off x="7227827" y="1440504"/>
            <a:ext cx="371475" cy="369888"/>
            <a:chOff x="5575914" y="2635251"/>
            <a:chExt cx="371475" cy="369888"/>
          </a:xfrm>
        </p:grpSpPr>
        <p:sp>
          <p:nvSpPr>
            <p:cNvPr id="46" name="Freeform 2525">
              <a:extLst>
                <a:ext uri="{FF2B5EF4-FFF2-40B4-BE49-F238E27FC236}">
                  <a16:creationId xmlns:a16="http://schemas.microsoft.com/office/drawing/2014/main" id="{180B0921-D47C-4D06-BCB0-C4DCCD7AE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526">
              <a:extLst>
                <a:ext uri="{FF2B5EF4-FFF2-40B4-BE49-F238E27FC236}">
                  <a16:creationId xmlns:a16="http://schemas.microsoft.com/office/drawing/2014/main" id="{26511420-61AD-488E-A7CC-52B0672D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27">
              <a:extLst>
                <a:ext uri="{FF2B5EF4-FFF2-40B4-BE49-F238E27FC236}">
                  <a16:creationId xmlns:a16="http://schemas.microsoft.com/office/drawing/2014/main" id="{E117733E-CC39-4C56-B3C2-79BFB59C6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28">
              <a:extLst>
                <a:ext uri="{FF2B5EF4-FFF2-40B4-BE49-F238E27FC236}">
                  <a16:creationId xmlns:a16="http://schemas.microsoft.com/office/drawing/2014/main" id="{2F71CB6D-8841-44E5-9757-934244F37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529">
              <a:extLst>
                <a:ext uri="{FF2B5EF4-FFF2-40B4-BE49-F238E27FC236}">
                  <a16:creationId xmlns:a16="http://schemas.microsoft.com/office/drawing/2014/main" id="{838D579F-88A2-4186-88AD-07448EFA9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30">
              <a:extLst>
                <a:ext uri="{FF2B5EF4-FFF2-40B4-BE49-F238E27FC236}">
                  <a16:creationId xmlns:a16="http://schemas.microsoft.com/office/drawing/2014/main" id="{3A6FD607-FB86-4604-8EAE-D8B2DA0BA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531">
              <a:extLst>
                <a:ext uri="{FF2B5EF4-FFF2-40B4-BE49-F238E27FC236}">
                  <a16:creationId xmlns:a16="http://schemas.microsoft.com/office/drawing/2014/main" id="{8C4262AD-7A8E-4B8E-BE29-25BD88D06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79899"/>
            <a:ext cx="9605964" cy="704850"/>
          </a:xfrm>
        </p:spPr>
        <p:txBody>
          <a:bodyPr vert="horz" rIns="0"/>
          <a:lstStyle/>
          <a:p>
            <a:pPr>
              <a:tabLst>
                <a:tab pos="444500" algn="l"/>
              </a:tabLst>
            </a:pPr>
            <a:r>
              <a:rPr lang="ru" dirty="0"/>
              <a:t>Информация о перспективах деятельности (планы развития), в том числе возможных изменениях тарифов</a:t>
            </a:r>
            <a:endParaRPr lang="en-US" dirty="0"/>
          </a:p>
        </p:txBody>
      </p:sp>
      <p:sp>
        <p:nvSpPr>
          <p:cNvPr id="9" name="Rectangle 119"/>
          <p:cNvSpPr/>
          <p:nvPr/>
        </p:nvSpPr>
        <p:spPr>
          <a:xfrm>
            <a:off x="4042374" y="1318085"/>
            <a:ext cx="2099941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/>
        </p:nvSpPr>
        <p:spPr>
          <a:xfrm>
            <a:off x="3036222" y="1006777"/>
            <a:ext cx="8949806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600" dirty="0"/>
              <a:t>ПЕРСПЕКТИВЫ РАЗВИТИЯ</a:t>
            </a:r>
          </a:p>
        </p:txBody>
      </p:sp>
      <p:cxnSp>
        <p:nvCxnSpPr>
          <p:cNvPr id="14" name="Straight Connector 110"/>
          <p:cNvCxnSpPr/>
          <p:nvPr/>
        </p:nvCxnSpPr>
        <p:spPr>
          <a:xfrm>
            <a:off x="3036222" y="1318086"/>
            <a:ext cx="835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Rectangle 117"/>
          <p:cNvSpPr/>
          <p:nvPr/>
        </p:nvSpPr>
        <p:spPr>
          <a:xfrm>
            <a:off x="3852596" y="2025692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>
                <a:solidFill>
                  <a:schemeClr val="tx1"/>
                </a:solidFill>
              </a:rPr>
              <a:t>2026 год</a:t>
            </a:r>
          </a:p>
        </p:txBody>
      </p:sp>
      <p:sp>
        <p:nvSpPr>
          <p:cNvPr id="19" name="Rectangle 114"/>
          <p:cNvSpPr/>
          <p:nvPr/>
        </p:nvSpPr>
        <p:spPr>
          <a:xfrm>
            <a:off x="373101" y="2327930"/>
            <a:ext cx="3456775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Утвержден уполномоченным органом </a:t>
            </a:r>
          </a:p>
        </p:txBody>
      </p:sp>
      <p:sp>
        <p:nvSpPr>
          <p:cNvPr id="20" name="Rectangle 36"/>
          <p:cNvSpPr/>
          <p:nvPr/>
        </p:nvSpPr>
        <p:spPr>
          <a:xfrm>
            <a:off x="4467369" y="2749205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3" name="Rectangle 41"/>
          <p:cNvSpPr/>
          <p:nvPr/>
        </p:nvSpPr>
        <p:spPr>
          <a:xfrm>
            <a:off x="4176422" y="2387966"/>
            <a:ext cx="1273353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>
                <a:solidFill>
                  <a:schemeClr val="accent1"/>
                </a:solidFill>
              </a:rPr>
              <a:t>7 207,6</a:t>
            </a:r>
          </a:p>
        </p:txBody>
      </p:sp>
      <p:sp>
        <p:nvSpPr>
          <p:cNvPr id="25" name="Rectangle 53"/>
          <p:cNvSpPr/>
          <p:nvPr/>
        </p:nvSpPr>
        <p:spPr>
          <a:xfrm>
            <a:off x="985205" y="1843602"/>
            <a:ext cx="2534432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6" name="Rectangle 115"/>
          <p:cNvSpPr/>
          <p:nvPr/>
        </p:nvSpPr>
        <p:spPr>
          <a:xfrm>
            <a:off x="246160" y="4111014"/>
            <a:ext cx="2750740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Проведение капитальных ремонтов основных средств</a:t>
            </a:r>
          </a:p>
        </p:txBody>
      </p:sp>
      <p:sp>
        <p:nvSpPr>
          <p:cNvPr id="29" name="Rectangle 45"/>
          <p:cNvSpPr/>
          <p:nvPr/>
        </p:nvSpPr>
        <p:spPr>
          <a:xfrm>
            <a:off x="4447564" y="4257982"/>
            <a:ext cx="1694751" cy="387798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>
                <a:solidFill>
                  <a:schemeClr val="accent1"/>
                </a:solidFill>
              </a:rPr>
              <a:t>204,1</a:t>
            </a:r>
          </a:p>
        </p:txBody>
      </p:sp>
      <p:sp>
        <p:nvSpPr>
          <p:cNvPr id="33" name="Rectangle 49"/>
          <p:cNvSpPr/>
          <p:nvPr/>
        </p:nvSpPr>
        <p:spPr>
          <a:xfrm>
            <a:off x="5764785" y="4397837"/>
            <a:ext cx="127128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млн. тенге</a:t>
            </a:r>
          </a:p>
        </p:txBody>
      </p:sp>
      <p:sp>
        <p:nvSpPr>
          <p:cNvPr id="35" name="Rectangle 57"/>
          <p:cNvSpPr/>
          <p:nvPr/>
        </p:nvSpPr>
        <p:spPr>
          <a:xfrm>
            <a:off x="840409" y="3741663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7" name="Straight Connector 12"/>
          <p:cNvCxnSpPr/>
          <p:nvPr/>
        </p:nvCxnSpPr>
        <p:spPr>
          <a:xfrm>
            <a:off x="428996" y="3641118"/>
            <a:ext cx="10944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8" name="Group 65"/>
          <p:cNvGrpSpPr/>
          <p:nvPr/>
        </p:nvGrpSpPr>
        <p:grpSpPr>
          <a:xfrm>
            <a:off x="4623728" y="1390749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39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Freeform 140"/>
          <p:cNvSpPr/>
          <p:nvPr/>
        </p:nvSpPr>
        <p:spPr>
          <a:xfrm>
            <a:off x="492303" y="5138085"/>
            <a:ext cx="9098377" cy="1642704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EF7F1A"/>
                </a:solidFill>
              </a:rPr>
              <a:t>                      </a:t>
            </a:r>
            <a:r>
              <a:rPr lang="ru-RU" sz="1600" dirty="0">
                <a:solidFill>
                  <a:srgbClr val="EF7F1A"/>
                </a:solidFill>
              </a:rPr>
              <a:t>Выполнение мероприятий позволит:</a:t>
            </a:r>
          </a:p>
        </p:txBody>
      </p:sp>
      <p:sp>
        <p:nvSpPr>
          <p:cNvPr id="72" name="Rectangle 5"/>
          <p:cNvSpPr>
            <a:spLocks noChangeArrowheads="1"/>
          </p:cNvSpPr>
          <p:nvPr/>
        </p:nvSpPr>
        <p:spPr bwMode="auto">
          <a:xfrm>
            <a:off x="586399" y="5415191"/>
            <a:ext cx="10583395" cy="127255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производству тепловой энергии</a:t>
            </a:r>
            <a:r>
              <a:rPr lang="ru-RU" sz="1600" dirty="0">
                <a:solidFill>
                  <a:srgbClr val="32373C"/>
                </a:solidFill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>
                <a:solidFill>
                  <a:srgbClr val="32373C"/>
                </a:solidFill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32373C"/>
                </a:solidFill>
              </a:rPr>
              <a:t>  повысить эффективность работы оборудования и качество предоставляемых регулируемых услуг</a:t>
            </a: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605" y="4899795"/>
            <a:ext cx="719657" cy="648976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324" y="1824092"/>
            <a:ext cx="384081" cy="384081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524" y="3664522"/>
            <a:ext cx="384081" cy="3840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340263" y="2290860"/>
            <a:ext cx="2171978" cy="118494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100" dirty="0">
                <a:ea typeface="Calibri" panose="020F0502020204030204" pitchFamily="34" charset="0"/>
                <a:cs typeface="Times New Roman" panose="02020603050405020304" pitchFamily="18" charset="0"/>
              </a:rPr>
              <a:t>Заявка на изменение утвержденного тарифа до истечения его срока действия в связи с ростом цены газа с 1 июля </a:t>
            </a:r>
            <a:r>
              <a:rPr lang="ru-RU" sz="1100" dirty="0"/>
              <a:t>находится на рассмотрении уполномоченного органа</a:t>
            </a:r>
            <a:r>
              <a:rPr lang="ru-RU" sz="1100" dirty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100" dirty="0"/>
          </a:p>
        </p:txBody>
      </p:sp>
      <p:grpSp>
        <p:nvGrpSpPr>
          <p:cNvPr id="49" name="Group 37"/>
          <p:cNvGrpSpPr/>
          <p:nvPr/>
        </p:nvGrpSpPr>
        <p:grpSpPr>
          <a:xfrm>
            <a:off x="5592206" y="3438042"/>
            <a:ext cx="172580" cy="3051175"/>
            <a:chOff x="10288826" y="2803525"/>
            <a:chExt cx="172580" cy="3051175"/>
          </a:xfrm>
          <a:scene3d>
            <a:camera prst="orthographicFront">
              <a:rot lat="0" lon="21299999" rev="16200000"/>
            </a:camera>
            <a:lightRig rig="threePt" dir="t"/>
          </a:scene3d>
        </p:grpSpPr>
        <p:grpSp>
          <p:nvGrpSpPr>
            <p:cNvPr id="59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62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60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55" name="Rectangle 118">
            <a:extLst>
              <a:ext uri="{FF2B5EF4-FFF2-40B4-BE49-F238E27FC236}">
                <a16:creationId xmlns:a16="http://schemas.microsoft.com/office/drawing/2014/main" id="{F8212E9F-5742-4CC6-B5FF-6EEAFC2A19A2}"/>
              </a:ext>
            </a:extLst>
          </p:cNvPr>
          <p:cNvSpPr/>
          <p:nvPr/>
        </p:nvSpPr>
        <p:spPr>
          <a:xfrm>
            <a:off x="8775568" y="2033800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>
                <a:solidFill>
                  <a:schemeClr val="tx1"/>
                </a:solidFill>
              </a:rPr>
              <a:t>2027 - 2031 годы</a:t>
            </a:r>
          </a:p>
        </p:txBody>
      </p:sp>
      <p:grpSp>
        <p:nvGrpSpPr>
          <p:cNvPr id="56" name="Group 3424">
            <a:extLst>
              <a:ext uri="{FF2B5EF4-FFF2-40B4-BE49-F238E27FC236}">
                <a16:creationId xmlns:a16="http://schemas.microsoft.com/office/drawing/2014/main" id="{39CBE58F-A921-4FB0-AAB1-94A78771B32F}"/>
              </a:ext>
            </a:extLst>
          </p:cNvPr>
          <p:cNvGrpSpPr/>
          <p:nvPr/>
        </p:nvGrpSpPr>
        <p:grpSpPr>
          <a:xfrm>
            <a:off x="9574343" y="1448612"/>
            <a:ext cx="371475" cy="369888"/>
            <a:chOff x="5575914" y="2635251"/>
            <a:chExt cx="371475" cy="369888"/>
          </a:xfrm>
        </p:grpSpPr>
        <p:sp>
          <p:nvSpPr>
            <p:cNvPr id="57" name="Freeform 2525">
              <a:extLst>
                <a:ext uri="{FF2B5EF4-FFF2-40B4-BE49-F238E27FC236}">
                  <a16:creationId xmlns:a16="http://schemas.microsoft.com/office/drawing/2014/main" id="{1A38E97C-EEF5-4A05-83FB-FABB662D8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26">
              <a:extLst>
                <a:ext uri="{FF2B5EF4-FFF2-40B4-BE49-F238E27FC236}">
                  <a16:creationId xmlns:a16="http://schemas.microsoft.com/office/drawing/2014/main" id="{DBDF7251-FCBC-4C63-9FB1-2342689E8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27">
              <a:extLst>
                <a:ext uri="{FF2B5EF4-FFF2-40B4-BE49-F238E27FC236}">
                  <a16:creationId xmlns:a16="http://schemas.microsoft.com/office/drawing/2014/main" id="{D4804F01-4B5C-4A6D-BB57-A585EDA86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28">
              <a:extLst>
                <a:ext uri="{FF2B5EF4-FFF2-40B4-BE49-F238E27FC236}">
                  <a16:creationId xmlns:a16="http://schemas.microsoft.com/office/drawing/2014/main" id="{8D22C6BD-48EE-4F4F-9749-3B0568E0C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9">
              <a:extLst>
                <a:ext uri="{FF2B5EF4-FFF2-40B4-BE49-F238E27FC236}">
                  <a16:creationId xmlns:a16="http://schemas.microsoft.com/office/drawing/2014/main" id="{E93A1295-C61E-4791-9C72-3AF0D63DC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30">
              <a:extLst>
                <a:ext uri="{FF2B5EF4-FFF2-40B4-BE49-F238E27FC236}">
                  <a16:creationId xmlns:a16="http://schemas.microsoft.com/office/drawing/2014/main" id="{B9F93FEA-FB33-4D7A-9A5B-120CE288F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31">
              <a:extLst>
                <a:ext uri="{FF2B5EF4-FFF2-40B4-BE49-F238E27FC236}">
                  <a16:creationId xmlns:a16="http://schemas.microsoft.com/office/drawing/2014/main" id="{98E5A9F6-7EC8-4BA7-9E4C-12C3CF98D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1671E8A-6EBB-4C19-8DF2-BE3309CCDAB4}"/>
              </a:ext>
            </a:extLst>
          </p:cNvPr>
          <p:cNvSpPr txBox="1"/>
          <p:nvPr/>
        </p:nvSpPr>
        <p:spPr>
          <a:xfrm>
            <a:off x="8687490" y="2327930"/>
            <a:ext cx="2133272" cy="8463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100" dirty="0">
                <a:ea typeface="Calibri" panose="020F0502020204030204" pitchFamily="34" charset="0"/>
                <a:cs typeface="Times New Roman" panose="02020603050405020304" pitchFamily="18" charset="0"/>
              </a:rPr>
              <a:t>Проводится работа по формированию заявки на утверждение пятилетних тарифов и инвестиционной программы</a:t>
            </a:r>
          </a:p>
        </p:txBody>
      </p:sp>
    </p:spTree>
    <p:extLst>
      <p:ext uri="{BB962C8B-B14F-4D97-AF65-F5344CB8AC3E}">
        <p14:creationId xmlns:p14="http://schemas.microsoft.com/office/powerpoint/2010/main" val="39411786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4186989"/>
            <a:ext cx="5038239" cy="1964575"/>
          </a:xfrm>
        </p:spPr>
        <p:txBody>
          <a:bodyPr/>
          <a:lstStyle/>
          <a:p>
            <a:r>
              <a:rPr lang="ru-RU" sz="6600" dirty="0"/>
              <a:t>Спасибо за внимание </a:t>
            </a:r>
            <a:endParaRPr lang="en-US" sz="6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Энергетика</a:t>
            </a:r>
          </a:p>
        </p:txBody>
      </p:sp>
    </p:spTree>
    <p:extLst>
      <p:ext uri="{BB962C8B-B14F-4D97-AF65-F5344CB8AC3E}">
        <p14:creationId xmlns:p14="http://schemas.microsoft.com/office/powerpoint/2010/main" val="3060960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" dirty="0">
                <a:solidFill>
                  <a:srgbClr val="DB700F"/>
                </a:solidFill>
              </a:rPr>
              <a:t>Общие сведения 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6727" y="3732779"/>
            <a:ext cx="56191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- природный газ (газ на станцию подается по индивидуальной ветке от магистрального трубопровода Газли-Шымкент);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Резервное топливо – топочный мазут М-100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1383" y="868079"/>
            <a:ext cx="1177826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АО «3-Энергоорталык» -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энергоисточник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с комбинированным производством электрической и тепловой энергии. </a:t>
            </a:r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21382" y="1198211"/>
            <a:ext cx="5619182" cy="22390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Основные технические показатели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Установленная электрическая мощность станции - 160 Мвт.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Рабочая мощность станции составляет до 75 МВт летом и до 140 МВт зимой.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епловая мощность станции позволяет выдавать до 500 Гкал/час тепла в горячей воде и до 205 т/час пара разных параметров (60 атм., 35 атм., 16 атм.). 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1382" y="5672263"/>
            <a:ext cx="11540825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625475">
              <a:spcBef>
                <a:spcPts val="300"/>
              </a:spcBef>
              <a:spcAft>
                <a:spcPts val="300"/>
              </a:spcAft>
            </a:pP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АО «3-Энергоорталык» включено в местный раздел Государственного регистра субъектов естественных монополий по услуге «</a:t>
            </a:r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тепловой энергии</a:t>
            </a:r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" b="1" cap="sm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cap="small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приказ Департамента Комитета по регулированию естественных монополий и защите конкуренции МНЭ РК по ЮКО №304-ОД от 13 ноября 2015 года)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grpSp>
        <p:nvGrpSpPr>
          <p:cNvPr id="14" name="Group 488"/>
          <p:cNvGrpSpPr/>
          <p:nvPr/>
        </p:nvGrpSpPr>
        <p:grpSpPr>
          <a:xfrm>
            <a:off x="317500" y="5564144"/>
            <a:ext cx="371475" cy="371475"/>
            <a:chOff x="-2103438" y="3878264"/>
            <a:chExt cx="371475" cy="371475"/>
          </a:xfrm>
        </p:grpSpPr>
        <p:sp>
          <p:nvSpPr>
            <p:cNvPr id="15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488"/>
          <p:cNvGrpSpPr/>
          <p:nvPr/>
        </p:nvGrpSpPr>
        <p:grpSpPr>
          <a:xfrm>
            <a:off x="284163" y="759960"/>
            <a:ext cx="371475" cy="371475"/>
            <a:chOff x="-2103438" y="3878264"/>
            <a:chExt cx="371475" cy="371475"/>
          </a:xfrm>
        </p:grpSpPr>
        <p:sp>
          <p:nvSpPr>
            <p:cNvPr id="2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357" y="1277529"/>
            <a:ext cx="5417850" cy="3985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605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997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6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499" y="0"/>
            <a:ext cx="9836151" cy="704850"/>
          </a:xfrm>
        </p:spPr>
        <p:txBody>
          <a:bodyPr vert="horz"/>
          <a:lstStyle/>
          <a:p>
            <a:r>
              <a:rPr lang="ru-RU" dirty="0"/>
              <a:t>Информация </a:t>
            </a:r>
            <a:r>
              <a:rPr lang="kk-KZ" dirty="0"/>
              <a:t>об исполнении утвержденной </a:t>
            </a:r>
            <a:r>
              <a:rPr lang="ru-RU" dirty="0"/>
              <a:t>инвестиционной программы </a:t>
            </a:r>
            <a:br>
              <a:rPr lang="ru-RU" dirty="0"/>
            </a:br>
            <a:r>
              <a:rPr lang="ru-RU" dirty="0"/>
              <a:t>АО «3-Энергоорталык» по итогам 1 полугодия 2026 года </a:t>
            </a:r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38125" y="634625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* убыток по услуге производство тепловой энергии за 1-е полугодие 2026г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005950"/>
              </p:ext>
            </p:extLst>
          </p:nvPr>
        </p:nvGraphicFramePr>
        <p:xfrm>
          <a:off x="238124" y="827772"/>
          <a:ext cx="11754954" cy="5444003"/>
        </p:xfrm>
        <a:graphic>
          <a:graphicData uri="http://schemas.openxmlformats.org/drawingml/2006/table">
            <a:tbl>
              <a:tblPr/>
              <a:tblGrid>
                <a:gridCol w="475020">
                  <a:extLst>
                    <a:ext uri="{9D8B030D-6E8A-4147-A177-3AD203B41FA5}">
                      <a16:colId xmlns:a16="http://schemas.microsoft.com/office/drawing/2014/main" val="2609394038"/>
                    </a:ext>
                  </a:extLst>
                </a:gridCol>
                <a:gridCol w="730645">
                  <a:extLst>
                    <a:ext uri="{9D8B030D-6E8A-4147-A177-3AD203B41FA5}">
                      <a16:colId xmlns:a16="http://schemas.microsoft.com/office/drawing/2014/main" val="2124512273"/>
                    </a:ext>
                  </a:extLst>
                </a:gridCol>
                <a:gridCol w="1702033">
                  <a:extLst>
                    <a:ext uri="{9D8B030D-6E8A-4147-A177-3AD203B41FA5}">
                      <a16:colId xmlns:a16="http://schemas.microsoft.com/office/drawing/2014/main" val="3216868527"/>
                    </a:ext>
                  </a:extLst>
                </a:gridCol>
                <a:gridCol w="316680">
                  <a:extLst>
                    <a:ext uri="{9D8B030D-6E8A-4147-A177-3AD203B41FA5}">
                      <a16:colId xmlns:a16="http://schemas.microsoft.com/office/drawing/2014/main" val="413188635"/>
                    </a:ext>
                  </a:extLst>
                </a:gridCol>
                <a:gridCol w="273497">
                  <a:extLst>
                    <a:ext uri="{9D8B030D-6E8A-4147-A177-3AD203B41FA5}">
                      <a16:colId xmlns:a16="http://schemas.microsoft.com/office/drawing/2014/main" val="2610833458"/>
                    </a:ext>
                  </a:extLst>
                </a:gridCol>
                <a:gridCol w="395851">
                  <a:extLst>
                    <a:ext uri="{9D8B030D-6E8A-4147-A177-3AD203B41FA5}">
                      <a16:colId xmlns:a16="http://schemas.microsoft.com/office/drawing/2014/main" val="1576926959"/>
                    </a:ext>
                  </a:extLst>
                </a:gridCol>
                <a:gridCol w="381456">
                  <a:extLst>
                    <a:ext uri="{9D8B030D-6E8A-4147-A177-3AD203B41FA5}">
                      <a16:colId xmlns:a16="http://schemas.microsoft.com/office/drawing/2014/main" val="2130267251"/>
                    </a:ext>
                  </a:extLst>
                </a:gridCol>
                <a:gridCol w="201525">
                  <a:extLst>
                    <a:ext uri="{9D8B030D-6E8A-4147-A177-3AD203B41FA5}">
                      <a16:colId xmlns:a16="http://schemas.microsoft.com/office/drawing/2014/main" val="3891167528"/>
                    </a:ext>
                  </a:extLst>
                </a:gridCol>
                <a:gridCol w="521312">
                  <a:extLst>
                    <a:ext uri="{9D8B030D-6E8A-4147-A177-3AD203B41FA5}">
                      <a16:colId xmlns:a16="http://schemas.microsoft.com/office/drawing/2014/main" val="2008863948"/>
                    </a:ext>
                  </a:extLst>
                </a:gridCol>
                <a:gridCol w="272189">
                  <a:extLst>
                    <a:ext uri="{9D8B030D-6E8A-4147-A177-3AD203B41FA5}">
                      <a16:colId xmlns:a16="http://schemas.microsoft.com/office/drawing/2014/main" val="779790581"/>
                    </a:ext>
                  </a:extLst>
                </a:gridCol>
                <a:gridCol w="856476">
                  <a:extLst>
                    <a:ext uri="{9D8B030D-6E8A-4147-A177-3AD203B41FA5}">
                      <a16:colId xmlns:a16="http://schemas.microsoft.com/office/drawing/2014/main" val="3751787413"/>
                    </a:ext>
                  </a:extLst>
                </a:gridCol>
                <a:gridCol w="856476">
                  <a:extLst>
                    <a:ext uri="{9D8B030D-6E8A-4147-A177-3AD203B41FA5}">
                      <a16:colId xmlns:a16="http://schemas.microsoft.com/office/drawing/2014/main" val="3689455868"/>
                    </a:ext>
                  </a:extLst>
                </a:gridCol>
                <a:gridCol w="287891">
                  <a:extLst>
                    <a:ext uri="{9D8B030D-6E8A-4147-A177-3AD203B41FA5}">
                      <a16:colId xmlns:a16="http://schemas.microsoft.com/office/drawing/2014/main" val="1547029794"/>
                    </a:ext>
                  </a:extLst>
                </a:gridCol>
                <a:gridCol w="215917">
                  <a:extLst>
                    <a:ext uri="{9D8B030D-6E8A-4147-A177-3AD203B41FA5}">
                      <a16:colId xmlns:a16="http://schemas.microsoft.com/office/drawing/2014/main" val="4155189858"/>
                    </a:ext>
                  </a:extLst>
                </a:gridCol>
                <a:gridCol w="251904">
                  <a:extLst>
                    <a:ext uri="{9D8B030D-6E8A-4147-A177-3AD203B41FA5}">
                      <a16:colId xmlns:a16="http://schemas.microsoft.com/office/drawing/2014/main" val="1018622579"/>
                    </a:ext>
                  </a:extLst>
                </a:gridCol>
                <a:gridCol w="230312">
                  <a:extLst>
                    <a:ext uri="{9D8B030D-6E8A-4147-A177-3AD203B41FA5}">
                      <a16:colId xmlns:a16="http://schemas.microsoft.com/office/drawing/2014/main" val="268388875"/>
                    </a:ext>
                  </a:extLst>
                </a:gridCol>
                <a:gridCol w="395851">
                  <a:extLst>
                    <a:ext uri="{9D8B030D-6E8A-4147-A177-3AD203B41FA5}">
                      <a16:colId xmlns:a16="http://schemas.microsoft.com/office/drawing/2014/main" val="3440794471"/>
                    </a:ext>
                  </a:extLst>
                </a:gridCol>
                <a:gridCol w="395851">
                  <a:extLst>
                    <a:ext uri="{9D8B030D-6E8A-4147-A177-3AD203B41FA5}">
                      <a16:colId xmlns:a16="http://schemas.microsoft.com/office/drawing/2014/main" val="1751222683"/>
                    </a:ext>
                  </a:extLst>
                </a:gridCol>
                <a:gridCol w="403047">
                  <a:extLst>
                    <a:ext uri="{9D8B030D-6E8A-4147-A177-3AD203B41FA5}">
                      <a16:colId xmlns:a16="http://schemas.microsoft.com/office/drawing/2014/main" val="1620030977"/>
                    </a:ext>
                  </a:extLst>
                </a:gridCol>
                <a:gridCol w="404847">
                  <a:extLst>
                    <a:ext uri="{9D8B030D-6E8A-4147-A177-3AD203B41FA5}">
                      <a16:colId xmlns:a16="http://schemas.microsoft.com/office/drawing/2014/main" val="3236033919"/>
                    </a:ext>
                  </a:extLst>
                </a:gridCol>
                <a:gridCol w="210521">
                  <a:extLst>
                    <a:ext uri="{9D8B030D-6E8A-4147-A177-3AD203B41FA5}">
                      <a16:colId xmlns:a16="http://schemas.microsoft.com/office/drawing/2014/main" val="2541200609"/>
                    </a:ext>
                  </a:extLst>
                </a:gridCol>
                <a:gridCol w="403047">
                  <a:extLst>
                    <a:ext uri="{9D8B030D-6E8A-4147-A177-3AD203B41FA5}">
                      <a16:colId xmlns:a16="http://schemas.microsoft.com/office/drawing/2014/main" val="539476903"/>
                    </a:ext>
                  </a:extLst>
                </a:gridCol>
                <a:gridCol w="404847">
                  <a:extLst>
                    <a:ext uri="{9D8B030D-6E8A-4147-A177-3AD203B41FA5}">
                      <a16:colId xmlns:a16="http://schemas.microsoft.com/office/drawing/2014/main" val="2464986826"/>
                    </a:ext>
                  </a:extLst>
                </a:gridCol>
                <a:gridCol w="404847">
                  <a:extLst>
                    <a:ext uri="{9D8B030D-6E8A-4147-A177-3AD203B41FA5}">
                      <a16:colId xmlns:a16="http://schemas.microsoft.com/office/drawing/2014/main" val="2458337663"/>
                    </a:ext>
                  </a:extLst>
                </a:gridCol>
                <a:gridCol w="367061">
                  <a:extLst>
                    <a:ext uri="{9D8B030D-6E8A-4147-A177-3AD203B41FA5}">
                      <a16:colId xmlns:a16="http://schemas.microsoft.com/office/drawing/2014/main" val="2311194603"/>
                    </a:ext>
                  </a:extLst>
                </a:gridCol>
                <a:gridCol w="395851">
                  <a:extLst>
                    <a:ext uri="{9D8B030D-6E8A-4147-A177-3AD203B41FA5}">
                      <a16:colId xmlns:a16="http://schemas.microsoft.com/office/drawing/2014/main" val="1953210684"/>
                    </a:ext>
                  </a:extLst>
                </a:gridCol>
              </a:tblGrid>
              <a:tr h="858986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прибылях и убытках*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инвестиционной программы (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ен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2799520"/>
                  </a:ext>
                </a:extLst>
              </a:tr>
              <a:tr h="11194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ичество в натуральных показателях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ственные средств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емные средства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юджетные средства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отерь, %, по годам реализации в зависимости от утвержденной инвестиционной программы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аварийности, по годам реализации в зависимости от утвержденной инвестиционной программы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621416"/>
                  </a:ext>
                </a:extLst>
              </a:tr>
              <a:tr h="294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5673979"/>
                  </a:ext>
                </a:extLst>
              </a:tr>
              <a:tr h="5703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3156008"/>
                  </a:ext>
                </a:extLst>
              </a:tr>
              <a:tr h="1478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584745"/>
                  </a:ext>
                </a:extLst>
              </a:tr>
              <a:tr h="518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о тепловой энергии. (г.Шымкент)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ШПП (двухрядного) котлоагрегата ТГМЕ-464 ст.№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1.26-31.12.26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-13,1 млн.тенге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 285,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3 285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ыполнение работ планируется в 3-4 квартале 2026г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4 088,7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5872" marR="5872" marT="587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0552653"/>
                  </a:ext>
                </a:extLst>
              </a:tr>
              <a:tr h="6336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газового тракта котлоагрегата№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 753,9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5 754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277072"/>
                  </a:ext>
                </a:extLst>
              </a:tr>
              <a:tr h="3907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воздушного тракта котлоагрегата№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 322,8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2 323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41786"/>
                  </a:ext>
                </a:extLst>
              </a:tr>
              <a:tr h="6465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обретение регуляторов давления пара Ду 300/350 Ру 2,5м Па, т-300-450, с эл/приводом. Бойлер №1,2,3,4, ПСВ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 727,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2 727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6979092"/>
                  </a:ext>
                </a:extLst>
              </a:tr>
              <a:tr h="262852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:</a:t>
                      </a:r>
                    </a:p>
                  </a:txBody>
                  <a:tcPr marL="5872" marR="5872" marT="58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4 088,7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04 088,7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72" marR="5872" marT="58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72" marR="5872" marT="58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7859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083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483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6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на регулируемую услугу по производству тепловой энергии по итогам 1 полугодия 2026 года </a:t>
            </a:r>
            <a:r>
              <a:rPr lang="ru-RU" sz="1000" dirty="0"/>
              <a:t>(1 из 3)</a:t>
            </a:r>
            <a:endParaRPr lang="en-US" sz="1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645975"/>
              </p:ext>
            </p:extLst>
          </p:nvPr>
        </p:nvGraphicFramePr>
        <p:xfrm>
          <a:off x="317499" y="943277"/>
          <a:ext cx="11579327" cy="5587134"/>
        </p:xfrm>
        <a:graphic>
          <a:graphicData uri="http://schemas.openxmlformats.org/drawingml/2006/table">
            <a:tbl>
              <a:tblPr/>
              <a:tblGrid>
                <a:gridCol w="516383">
                  <a:extLst>
                    <a:ext uri="{9D8B030D-6E8A-4147-A177-3AD203B41FA5}">
                      <a16:colId xmlns:a16="http://schemas.microsoft.com/office/drawing/2014/main" val="681529834"/>
                    </a:ext>
                  </a:extLst>
                </a:gridCol>
                <a:gridCol w="2492109">
                  <a:extLst>
                    <a:ext uri="{9D8B030D-6E8A-4147-A177-3AD203B41FA5}">
                      <a16:colId xmlns:a16="http://schemas.microsoft.com/office/drawing/2014/main" val="4212021354"/>
                    </a:ext>
                  </a:extLst>
                </a:gridCol>
                <a:gridCol w="909284">
                  <a:extLst>
                    <a:ext uri="{9D8B030D-6E8A-4147-A177-3AD203B41FA5}">
                      <a16:colId xmlns:a16="http://schemas.microsoft.com/office/drawing/2014/main" val="3941723098"/>
                    </a:ext>
                  </a:extLst>
                </a:gridCol>
                <a:gridCol w="1100121">
                  <a:extLst>
                    <a:ext uri="{9D8B030D-6E8A-4147-A177-3AD203B41FA5}">
                      <a16:colId xmlns:a16="http://schemas.microsoft.com/office/drawing/2014/main" val="234842800"/>
                    </a:ext>
                  </a:extLst>
                </a:gridCol>
                <a:gridCol w="1304989">
                  <a:extLst>
                    <a:ext uri="{9D8B030D-6E8A-4147-A177-3AD203B41FA5}">
                      <a16:colId xmlns:a16="http://schemas.microsoft.com/office/drawing/2014/main" val="1515206021"/>
                    </a:ext>
                  </a:extLst>
                </a:gridCol>
                <a:gridCol w="1170280">
                  <a:extLst>
                    <a:ext uri="{9D8B030D-6E8A-4147-A177-3AD203B41FA5}">
                      <a16:colId xmlns:a16="http://schemas.microsoft.com/office/drawing/2014/main" val="172158596"/>
                    </a:ext>
                  </a:extLst>
                </a:gridCol>
                <a:gridCol w="4086161">
                  <a:extLst>
                    <a:ext uri="{9D8B030D-6E8A-4147-A177-3AD203B41FA5}">
                      <a16:colId xmlns:a16="http://schemas.microsoft.com/office/drawing/2014/main" val="2826247140"/>
                    </a:ext>
                  </a:extLst>
                </a:gridCol>
              </a:tblGrid>
              <a:tr h="8085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6 год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6 года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56473"/>
                  </a:ext>
                </a:extLst>
              </a:tr>
              <a:tr h="16646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Затраты    всего, в т.ч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20 028,5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361 53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695215"/>
                  </a:ext>
                </a:extLst>
              </a:tr>
              <a:tr h="181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.затраты -всего, в т.ч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99 148,9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917 24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8638653"/>
                  </a:ext>
                </a:extLst>
              </a:tr>
              <a:tr h="3269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 (газ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357 959,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77 25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2413481"/>
                  </a:ext>
                </a:extLst>
              </a:tr>
              <a:tr h="2913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реаген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9 863,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65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8,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Фильтрующие матеры  будут засыпаны в ноябре-декабре.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503376"/>
                  </a:ext>
                </a:extLst>
              </a:tr>
              <a:tr h="1842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да на технолог.цели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 98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 190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7,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произ-ва.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603931"/>
                  </a:ext>
                </a:extLst>
              </a:tr>
              <a:tr h="261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на ТО и эксплуатацию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654,7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15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Списание в январе -феврале. Производственная необходимость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8813196"/>
                  </a:ext>
                </a:extLst>
              </a:tr>
              <a:tr h="1783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85,6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9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7276230"/>
                  </a:ext>
                </a:extLst>
              </a:tr>
              <a:tr h="2021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, всего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1 910,2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0 40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815678"/>
                  </a:ext>
                </a:extLst>
              </a:tr>
              <a:tr h="2199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ППР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8 273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9 984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5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915744"/>
                  </a:ext>
                </a:extLst>
              </a:tr>
              <a:tr h="2378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 48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71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6,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8691010"/>
                  </a:ext>
                </a:extLst>
              </a:tr>
              <a:tr h="27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148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0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3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5275527"/>
                  </a:ext>
                </a:extLst>
              </a:tr>
              <a:tr h="196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 273,6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3 64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3,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825247"/>
                  </a:ext>
                </a:extLst>
              </a:tr>
              <a:tr h="2021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5 860,6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98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4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3564688"/>
                  </a:ext>
                </a:extLst>
              </a:tr>
              <a:tr h="1664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 на рем.рабо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 445,5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23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1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14150"/>
                  </a:ext>
                </a:extLst>
              </a:tr>
              <a:tr h="1664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дрядных орг. по ремонту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 41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3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095734"/>
                  </a:ext>
                </a:extLst>
              </a:tr>
              <a:tr h="195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 835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 24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7,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3209372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торонних организаци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754,8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 11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ежемесячных обязательных услуг по охране объектов и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варийно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спасательным работам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5275639"/>
                  </a:ext>
                </a:extLst>
              </a:tr>
              <a:tr h="2080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058,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49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6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046314"/>
                  </a:ext>
                </a:extLst>
              </a:tr>
              <a:tr h="214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87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64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,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748488"/>
                  </a:ext>
                </a:extLst>
              </a:tr>
              <a:tr h="27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и  ТБ (спец.одежда, мыло,молоко)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 234,9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7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2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2360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2220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082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1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</a:t>
            </a:r>
            <a:r>
              <a:rPr lang="ru-RU" sz="1000" dirty="0"/>
              <a:t>(2 из 3)</a:t>
            </a:r>
            <a:endParaRPr lang="en-US" sz="1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396688"/>
              </p:ext>
            </p:extLst>
          </p:nvPr>
        </p:nvGraphicFramePr>
        <p:xfrm>
          <a:off x="317500" y="962526"/>
          <a:ext cx="11511949" cy="5440713"/>
        </p:xfrm>
        <a:graphic>
          <a:graphicData uri="http://schemas.openxmlformats.org/drawingml/2006/table">
            <a:tbl>
              <a:tblPr/>
              <a:tblGrid>
                <a:gridCol w="513379">
                  <a:extLst>
                    <a:ext uri="{9D8B030D-6E8A-4147-A177-3AD203B41FA5}">
                      <a16:colId xmlns:a16="http://schemas.microsoft.com/office/drawing/2014/main" val="3998820569"/>
                    </a:ext>
                  </a:extLst>
                </a:gridCol>
                <a:gridCol w="2477609">
                  <a:extLst>
                    <a:ext uri="{9D8B030D-6E8A-4147-A177-3AD203B41FA5}">
                      <a16:colId xmlns:a16="http://schemas.microsoft.com/office/drawing/2014/main" val="2970215665"/>
                    </a:ext>
                  </a:extLst>
                </a:gridCol>
                <a:gridCol w="903992">
                  <a:extLst>
                    <a:ext uri="{9D8B030D-6E8A-4147-A177-3AD203B41FA5}">
                      <a16:colId xmlns:a16="http://schemas.microsoft.com/office/drawing/2014/main" val="313341799"/>
                    </a:ext>
                  </a:extLst>
                </a:gridCol>
                <a:gridCol w="1093720">
                  <a:extLst>
                    <a:ext uri="{9D8B030D-6E8A-4147-A177-3AD203B41FA5}">
                      <a16:colId xmlns:a16="http://schemas.microsoft.com/office/drawing/2014/main" val="3723997745"/>
                    </a:ext>
                  </a:extLst>
                </a:gridCol>
                <a:gridCol w="1297396">
                  <a:extLst>
                    <a:ext uri="{9D8B030D-6E8A-4147-A177-3AD203B41FA5}">
                      <a16:colId xmlns:a16="http://schemas.microsoft.com/office/drawing/2014/main" val="581699830"/>
                    </a:ext>
                  </a:extLst>
                </a:gridCol>
                <a:gridCol w="1163470">
                  <a:extLst>
                    <a:ext uri="{9D8B030D-6E8A-4147-A177-3AD203B41FA5}">
                      <a16:colId xmlns:a16="http://schemas.microsoft.com/office/drawing/2014/main" val="1784849711"/>
                    </a:ext>
                  </a:extLst>
                </a:gridCol>
                <a:gridCol w="4062383">
                  <a:extLst>
                    <a:ext uri="{9D8B030D-6E8A-4147-A177-3AD203B41FA5}">
                      <a16:colId xmlns:a16="http://schemas.microsoft.com/office/drawing/2014/main" val="672993041"/>
                    </a:ext>
                  </a:extLst>
                </a:gridCol>
              </a:tblGrid>
              <a:tr h="8392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6 год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6 год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790146"/>
                  </a:ext>
                </a:extLst>
              </a:tr>
              <a:tr h="3394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 всего, вт.ч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 510,83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 485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2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799575"/>
                  </a:ext>
                </a:extLst>
              </a:tr>
              <a:tr h="3517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ие и административные расходы всего, в т.ч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 510,83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 485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2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061250"/>
                  </a:ext>
                </a:extLst>
              </a:tr>
              <a:tr h="1542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 АУП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622,56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317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7,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7589582"/>
                  </a:ext>
                </a:extLst>
              </a:tr>
              <a:tr h="2036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34,63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9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5768375"/>
                  </a:ext>
                </a:extLst>
              </a:tr>
              <a:tr h="3455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8,68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7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41043"/>
                  </a:ext>
                </a:extLst>
              </a:tr>
              <a:tr h="3208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4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, всего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2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2,5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по налогу на имущество. Увеличение стоимости ОС за счет капитальных ремонт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4925"/>
                  </a:ext>
                </a:extLst>
              </a:tr>
              <a:tr h="1789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 расходы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 042,96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167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6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5410396"/>
                  </a:ext>
                </a:extLst>
              </a:tr>
              <a:tr h="2838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815,05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487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,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амортизационных отчислений за счет увеличения стоимости ОС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4428331"/>
                  </a:ext>
                </a:extLst>
              </a:tr>
              <a:tr h="197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2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 для легкового транспорт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7,5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0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699837"/>
                  </a:ext>
                </a:extLst>
              </a:tr>
              <a:tr h="2036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3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нцтовары и пр. 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62,39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5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5,2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244360"/>
                  </a:ext>
                </a:extLst>
              </a:tr>
              <a:tr h="197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4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андировочные расходы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,7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3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788,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334810"/>
                  </a:ext>
                </a:extLst>
              </a:tr>
              <a:tr h="1542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5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вязи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83,38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98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7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8401622"/>
                  </a:ext>
                </a:extLst>
              </a:tr>
              <a:tr h="197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6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о страхованию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4,89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7,9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роцента отнесения затрат н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энергию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974038"/>
                  </a:ext>
                </a:extLst>
              </a:tr>
              <a:tr h="3208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7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общего характера сторонних организаций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527,8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 802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3,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643717"/>
                  </a:ext>
                </a:extLst>
              </a:tr>
              <a:tr h="1912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8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развитие персонал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916,27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первом полугодии обучение собственными силами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073534"/>
                  </a:ext>
                </a:extLst>
              </a:tr>
              <a:tr h="2838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9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 и ТБ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0,32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0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362190"/>
                  </a:ext>
                </a:extLst>
              </a:tr>
              <a:tr h="2036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0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ическая печать 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,57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0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7349046"/>
                  </a:ext>
                </a:extLst>
              </a:tr>
              <a:tr h="246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  воды  на ХН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4,0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3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054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35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6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</a:t>
            </a:r>
            <a:r>
              <a:rPr lang="ru-RU" sz="1000" dirty="0"/>
              <a:t>(3 из 3)</a:t>
            </a:r>
            <a:endParaRPr lang="en-US" sz="1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999551"/>
              </p:ext>
            </p:extLst>
          </p:nvPr>
        </p:nvGraphicFramePr>
        <p:xfrm>
          <a:off x="559067" y="956177"/>
          <a:ext cx="10904621" cy="4944109"/>
        </p:xfrm>
        <a:graphic>
          <a:graphicData uri="http://schemas.openxmlformats.org/drawingml/2006/table">
            <a:tbl>
              <a:tblPr/>
              <a:tblGrid>
                <a:gridCol w="468946">
                  <a:extLst>
                    <a:ext uri="{9D8B030D-6E8A-4147-A177-3AD203B41FA5}">
                      <a16:colId xmlns:a16="http://schemas.microsoft.com/office/drawing/2014/main" val="2675360996"/>
                    </a:ext>
                  </a:extLst>
                </a:gridCol>
                <a:gridCol w="2263173">
                  <a:extLst>
                    <a:ext uri="{9D8B030D-6E8A-4147-A177-3AD203B41FA5}">
                      <a16:colId xmlns:a16="http://schemas.microsoft.com/office/drawing/2014/main" val="1377906265"/>
                    </a:ext>
                  </a:extLst>
                </a:gridCol>
                <a:gridCol w="825752">
                  <a:extLst>
                    <a:ext uri="{9D8B030D-6E8A-4147-A177-3AD203B41FA5}">
                      <a16:colId xmlns:a16="http://schemas.microsoft.com/office/drawing/2014/main" val="1096684270"/>
                    </a:ext>
                  </a:extLst>
                </a:gridCol>
                <a:gridCol w="999059">
                  <a:extLst>
                    <a:ext uri="{9D8B030D-6E8A-4147-A177-3AD203B41FA5}">
                      <a16:colId xmlns:a16="http://schemas.microsoft.com/office/drawing/2014/main" val="3071715360"/>
                    </a:ext>
                  </a:extLst>
                </a:gridCol>
                <a:gridCol w="1185107">
                  <a:extLst>
                    <a:ext uri="{9D8B030D-6E8A-4147-A177-3AD203B41FA5}">
                      <a16:colId xmlns:a16="http://schemas.microsoft.com/office/drawing/2014/main" val="2372846663"/>
                    </a:ext>
                  </a:extLst>
                </a:gridCol>
                <a:gridCol w="1062774">
                  <a:extLst>
                    <a:ext uri="{9D8B030D-6E8A-4147-A177-3AD203B41FA5}">
                      <a16:colId xmlns:a16="http://schemas.microsoft.com/office/drawing/2014/main" val="1177336768"/>
                    </a:ext>
                  </a:extLst>
                </a:gridCol>
                <a:gridCol w="4099810">
                  <a:extLst>
                    <a:ext uri="{9D8B030D-6E8A-4147-A177-3AD203B41FA5}">
                      <a16:colId xmlns:a16="http://schemas.microsoft.com/office/drawing/2014/main" val="1816176149"/>
                    </a:ext>
                  </a:extLst>
                </a:gridCol>
              </a:tblGrid>
              <a:tr h="3998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.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90 539,4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403 017,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0747835"/>
                  </a:ext>
                </a:extLst>
              </a:tr>
              <a:tr h="3046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 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3 157,5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9543694"/>
                  </a:ext>
                </a:extLst>
              </a:tr>
              <a:tr h="5236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ДОХОДОВ, всего в том числе: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90 539,4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389 8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3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783187"/>
                  </a:ext>
                </a:extLst>
              </a:tr>
              <a:tr h="361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- Тепловая энергия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85 753,5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389 8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2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29487"/>
                  </a:ext>
                </a:extLst>
              </a:tr>
              <a:tr h="4360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785,85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0,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175824"/>
                  </a:ext>
                </a:extLst>
              </a:tr>
              <a:tr h="2811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УСЛУГ  ВСЕГО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 280,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1 575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3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696601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4865743"/>
                  </a:ext>
                </a:extLst>
              </a:tr>
              <a:tr h="4188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4 616,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1 575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2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по заявкам потребителя 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2078485"/>
                  </a:ext>
                </a:extLst>
              </a:tr>
              <a:tr h="4664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0,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 оборудования у потребителя.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012053"/>
                  </a:ext>
                </a:extLst>
              </a:tr>
              <a:tr h="447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I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еотпускной ТАРИФ, без НДС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274907"/>
                  </a:ext>
                </a:extLst>
              </a:tr>
              <a:tr h="3046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4518158"/>
                  </a:ext>
                </a:extLst>
              </a:tr>
              <a:tr h="3046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287904"/>
                  </a:ext>
                </a:extLst>
              </a:tr>
              <a:tr h="4664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07,60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650" marR="7650" marT="76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650" marR="7650" marT="76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998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746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9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6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0" y="0"/>
            <a:ext cx="9605964" cy="770021"/>
          </a:xfrm>
        </p:spPr>
        <p:txBody>
          <a:bodyPr vert="horz"/>
          <a:lstStyle/>
          <a:p>
            <a:r>
              <a:rPr lang="ru-RU" dirty="0"/>
              <a:t>Информация о соблюдении показателей качества и надежности регулируемых услуг и достижении показателей эффективности деятельности по итогам 1 полугодия 2026года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20570" y="940757"/>
            <a:ext cx="11194474" cy="945194"/>
          </a:xfrm>
        </p:spPr>
        <p:txBody>
          <a:bodyPr/>
          <a:lstStyle/>
          <a:p>
            <a:pPr algn="just"/>
            <a:r>
              <a:rPr lang="ru-RU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ля АО «3-Энергоортплык» показатели качества и надежности регулируемых услуг и достижении показателей эффективности деятельности предприятия </a:t>
            </a:r>
            <a:r>
              <a:rPr lang="ru-RU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разрабатывались и не утверждались.</a:t>
            </a:r>
          </a:p>
          <a:p>
            <a:pPr algn="just"/>
            <a:r>
              <a:rPr lang="ru-RU" sz="1400" dirty="0">
                <a:solidFill>
                  <a:prstClr val="black"/>
                </a:solidFill>
              </a:rPr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6 года.</a:t>
            </a:r>
            <a:endParaRPr lang="en-US" sz="14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38033"/>
              </p:ext>
            </p:extLst>
          </p:nvPr>
        </p:nvGraphicFramePr>
        <p:xfrm>
          <a:off x="395146" y="1906442"/>
          <a:ext cx="11441255" cy="1960708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9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986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качества и надеж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2025 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2026 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первое полугодие 2026 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52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b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производственных основных средств, 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ожидается по итогам выполнения мероприятий в конце года.</a:t>
                      </a: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3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варийность, 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111011"/>
                  </a:ext>
                </a:extLst>
              </a:tr>
            </a:tbl>
          </a:graphicData>
        </a:graphic>
      </p:graphicFrame>
      <p:grpSp>
        <p:nvGrpSpPr>
          <p:cNvPr id="8" name="Group 488"/>
          <p:cNvGrpSpPr/>
          <p:nvPr/>
        </p:nvGrpSpPr>
        <p:grpSpPr>
          <a:xfrm>
            <a:off x="203058" y="889956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Rectangle 133"/>
          <p:cNvSpPr>
            <a:spLocks noChangeArrowheads="1"/>
          </p:cNvSpPr>
          <p:nvPr/>
        </p:nvSpPr>
        <p:spPr bwMode="auto">
          <a:xfrm>
            <a:off x="1847850" y="2703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310846"/>
              </p:ext>
            </p:extLst>
          </p:nvPr>
        </p:nvGraphicFramePr>
        <p:xfrm>
          <a:off x="395146" y="3990021"/>
          <a:ext cx="11441255" cy="2110113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2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058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эффектив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2025 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2026 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первого полугодия 2026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достижения показателей эффектив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</a:t>
                      </a:r>
                      <a:r>
                        <a:rPr lang="ru-RU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показателей эффектив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19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ожидается по итогам выполнения мероприятий в конце года.</a:t>
                      </a: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я износа основных средств, 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5876"/>
                  </a:ext>
                </a:extLst>
              </a:tr>
              <a:tr h="461883"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119698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аварийности, 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146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782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91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9" name="Слайд think-cell" r:id="rId50" imgW="594" imgH="595" progId="TCLayout.ActiveDocument.1">
                  <p:embed/>
                </p:oleObj>
              </mc:Choice>
              <mc:Fallback>
                <p:oleObj name="Слайд think-cell" r:id="rId50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203" y="115409"/>
            <a:ext cx="10178542" cy="704850"/>
          </a:xfrm>
        </p:spPr>
        <p:txBody>
          <a:bodyPr vert="horz" rIns="0"/>
          <a:lstStyle/>
          <a:p>
            <a:r>
              <a:rPr lang="ru-RU" dirty="0">
                <a:solidFill>
                  <a:srgbClr val="DB700F"/>
                </a:solidFill>
              </a:rPr>
              <a:t>Информация об основных финансово - экономических показателях</a:t>
            </a:r>
            <a:r>
              <a:rPr lang="en-US" dirty="0">
                <a:solidFill>
                  <a:srgbClr val="DB700F"/>
                </a:solidFill>
              </a:rPr>
              <a:t> </a:t>
            </a:r>
            <a:r>
              <a:rPr lang="ru-RU" dirty="0">
                <a:solidFill>
                  <a:srgbClr val="DB700F"/>
                </a:solidFill>
              </a:rPr>
              <a:t>по услуге производство тепловой энергии и об объемах предоставленных регулируемых услуг </a:t>
            </a:r>
            <a:br>
              <a:rPr lang="ru-RU" dirty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66" name="Chart 3">
            <a:extLst>
              <a:ext uri="{FF2B5EF4-FFF2-40B4-BE49-F238E27FC236}">
                <a16:creationId xmlns:a16="http://schemas.microsoft.com/office/drawing/2014/main" id="{D66CFC39-5AE2-4282-93F6-03BA741A370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4769743"/>
              </p:ext>
            </p:extLst>
          </p:nvPr>
        </p:nvGraphicFramePr>
        <p:xfrm>
          <a:off x="539750" y="2636838"/>
          <a:ext cx="2643188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62" name="Прямоугольник 61"/>
          <p:cNvSpPr/>
          <p:nvPr>
            <p:custDataLst>
              <p:tags r:id="rId4"/>
            </p:custDataLst>
          </p:nvPr>
        </p:nvSpPr>
        <p:spPr bwMode="auto">
          <a:xfrm>
            <a:off x="1379538" y="4629151"/>
            <a:ext cx="373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1C2339-F842-4C28-B446-DD5D2089B96F}" type="datetime'Д''''о''ход'','''' млн''.'' ''т''''''''''е''''''''н''г''''е 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оход, млн. тенге 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5"/>
            </p:custDataLst>
          </p:nvPr>
        </p:nvSpPr>
        <p:spPr bwMode="auto">
          <a:xfrm>
            <a:off x="1871663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B0F414-B618-4048-B95F-AE22BAA411A8}" type="datetime'зат''рат''''ы'', м''''''''л''''н''''''''.'''' ''т''е''нге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затраты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5" name="Chart 3">
            <a:extLst>
              <a:ext uri="{FF2B5EF4-FFF2-40B4-BE49-F238E27FC236}">
                <a16:creationId xmlns:a16="http://schemas.microsoft.com/office/drawing/2014/main" id="{50589485-6C24-4360-9C11-18E70EBA8FB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59026359"/>
              </p:ext>
            </p:extLst>
          </p:nvPr>
        </p:nvGraphicFramePr>
        <p:xfrm>
          <a:off x="-577850" y="1990725"/>
          <a:ext cx="2801938" cy="2805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8" name="Прямоугольник 7"/>
          <p:cNvSpPr/>
          <p:nvPr>
            <p:custDataLst>
              <p:tags r:id="rId7"/>
            </p:custDataLst>
          </p:nvPr>
        </p:nvSpPr>
        <p:spPr bwMode="gray">
          <a:xfrm>
            <a:off x="774700" y="4529138"/>
            <a:ext cx="95250" cy="1238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chemeClr val="bg1"/>
                </a:solidFill>
                <a:sym typeface="Arial" panose="020B0604020202020204" pitchFamily="34" charset="0"/>
              </a:rPr>
              <a:t>0</a:t>
            </a:r>
          </a:p>
        </p:txBody>
      </p:sp>
      <p:sp>
        <p:nvSpPr>
          <p:cNvPr id="5" name="Прямоугольник 4"/>
          <p:cNvSpPr/>
          <p:nvPr>
            <p:custDataLst>
              <p:tags r:id="rId8"/>
            </p:custDataLst>
          </p:nvPr>
        </p:nvSpPr>
        <p:spPr bwMode="auto">
          <a:xfrm>
            <a:off x="457200" y="4691063"/>
            <a:ext cx="731838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B9FA04-D5C2-4B3D-8964-EAEF94709E6D}" type="datetime'''об''''ъем ''''о''казыва''е''мых'''' ''усл''уг'','' Гка''''л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бъем оказываемых услуг, 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21A8050-8668-433D-90F0-610C2D66DEB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00075" y="2046288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9FC5700-EE46-4EF1-AA4D-5DF87CF8A418}" type="datetime'''''''''''''3''3''''''''''''''1'' ''''''''''5''''7''5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31 57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4663A819-4886-4287-BE91-D123E0FD222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19485"/>
              </p:ext>
            </p:extLst>
          </p:nvPr>
        </p:nvGraphicFramePr>
        <p:xfrm>
          <a:off x="2020888" y="3232150"/>
          <a:ext cx="2960687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2" name="Прямоугольник 81"/>
          <p:cNvSpPr/>
          <p:nvPr>
            <p:custDataLst>
              <p:tags r:id="rId11"/>
            </p:custDataLst>
          </p:nvPr>
        </p:nvSpPr>
        <p:spPr bwMode="auto">
          <a:xfrm>
            <a:off x="3078163" y="4629150"/>
            <a:ext cx="84296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D6B086-B519-41DE-B9B3-A7ED7A4F8509}" type="datetime'''''се''бе''ст''''''''о''имо''ст''''ь, ''те''''нг''е/Гка''л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бестоимость, тенге/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125E3196-4B93-4578-BE61-94B874186D3D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81797859"/>
              </p:ext>
            </p:extLst>
          </p:nvPr>
        </p:nvGraphicFramePr>
        <p:xfrm>
          <a:off x="1897063" y="3722688"/>
          <a:ext cx="1849437" cy="107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78" name="Прямоугольник 77"/>
          <p:cNvSpPr/>
          <p:nvPr>
            <p:custDataLst>
              <p:tags r:id="rId13"/>
            </p:custDataLst>
          </p:nvPr>
        </p:nvSpPr>
        <p:spPr bwMode="auto">
          <a:xfrm>
            <a:off x="2535238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D3699A-0920-4D58-BBCF-0B1F4397E4AB}" type="datetime'у''б''ы''т''''''о''''''''''к,'''' ''''м''''лн''''. т''ен''г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быток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119"/>
          <p:cNvSpPr/>
          <p:nvPr/>
        </p:nvSpPr>
        <p:spPr>
          <a:xfrm>
            <a:off x="0" y="5785979"/>
            <a:ext cx="12192000" cy="462331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/>
              <a:t>Действующие тарифы не компенсируют затраты на 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9" name="Freeform 140"/>
          <p:cNvSpPr/>
          <p:nvPr/>
        </p:nvSpPr>
        <p:spPr>
          <a:xfrm>
            <a:off x="323203" y="1045684"/>
            <a:ext cx="5721998" cy="4132741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</a:pPr>
            <a:r>
              <a:rPr lang="ru-RU" sz="1400" dirty="0">
                <a:solidFill>
                  <a:schemeClr val="accent1"/>
                </a:solidFill>
              </a:rPr>
              <a:t>Основные финансово-экономические показатели за  первое полугодие 2026 года </a:t>
            </a:r>
            <a:endParaRPr lang="da-DK" sz="1400" dirty="0">
              <a:solidFill>
                <a:schemeClr val="accent1"/>
              </a:solidFill>
            </a:endParaRPr>
          </a:p>
        </p:txBody>
      </p:sp>
      <p:sp>
        <p:nvSpPr>
          <p:cNvPr id="30" name="Freeform 140"/>
          <p:cNvSpPr/>
          <p:nvPr/>
        </p:nvSpPr>
        <p:spPr>
          <a:xfrm>
            <a:off x="6320735" y="1045684"/>
            <a:ext cx="5556840" cy="4132741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400" dirty="0">
                <a:solidFill>
                  <a:schemeClr val="accent1"/>
                </a:solidFill>
              </a:rPr>
              <a:t>Объемы предоставленных регулируемых услуг за полугодие 2026  год, Гкал</a:t>
            </a:r>
            <a:endParaRPr lang="da-DK" sz="1400" dirty="0">
              <a:solidFill>
                <a:schemeClr val="accent1"/>
              </a:solidFill>
            </a:endParaRP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C447DF65-970A-44B8-9E8A-89203CA69509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35967348"/>
              </p:ext>
            </p:extLst>
          </p:nvPr>
        </p:nvGraphicFramePr>
        <p:xfrm>
          <a:off x="2690813" y="3302000"/>
          <a:ext cx="2960687" cy="149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9" name="Прямоугольник 8"/>
          <p:cNvSpPr/>
          <p:nvPr>
            <p:custDataLst>
              <p:tags r:id="rId15"/>
            </p:custDataLst>
          </p:nvPr>
        </p:nvSpPr>
        <p:spPr bwMode="auto">
          <a:xfrm>
            <a:off x="3867150" y="4629151"/>
            <a:ext cx="603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С1.01.2026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16"/>
            </p:custDataLst>
          </p:nvPr>
        </p:nvSpPr>
        <p:spPr bwMode="auto">
          <a:xfrm>
            <a:off x="358775" y="528161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/>
          <p:cNvSpPr/>
          <p:nvPr>
            <p:custDataLst>
              <p:tags r:id="rId17"/>
            </p:custDataLst>
          </p:nvPr>
        </p:nvSpPr>
        <p:spPr bwMode="auto">
          <a:xfrm>
            <a:off x="358775" y="5468938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18"/>
            </p:custDataLst>
          </p:nvPr>
        </p:nvSpPr>
        <p:spPr bwMode="auto">
          <a:xfrm>
            <a:off x="569913" y="5278438"/>
            <a:ext cx="3444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E4C839-6C0A-4097-AA02-C753E48430FD}" type="datetime'''''''''в'''' ''''''п''''''''''а''''р''''''е''''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пар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19"/>
            </p:custDataLst>
          </p:nvPr>
        </p:nvSpPr>
        <p:spPr bwMode="auto">
          <a:xfrm>
            <a:off x="569913" y="5465763"/>
            <a:ext cx="7953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5C3E680-292E-47F6-98E4-D6D3EC1F0177}" type="datetime'в'''''' ''''''г''ор''я''''че''''й'''''' ''''''во''д''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горячей вод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20"/>
            </p:custDataLst>
          </p:nvPr>
        </p:nvSpPr>
        <p:spPr bwMode="auto">
          <a:xfrm>
            <a:off x="3979863" y="5246688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/>
          <p:cNvSpPr/>
          <p:nvPr>
            <p:custDataLst>
              <p:tags r:id="rId21"/>
            </p:custDataLst>
          </p:nvPr>
        </p:nvSpPr>
        <p:spPr bwMode="auto">
          <a:xfrm>
            <a:off x="4191000" y="5243513"/>
            <a:ext cx="9588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411449-4FBC-4C19-B5ED-946697F5A07F}" type="datetime'т''''ари''ф'''''', т''е''''нге''''''/Г''''''''''к''а''''''''л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тариф, 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74" name="Chart 3">
            <a:extLst>
              <a:ext uri="{FF2B5EF4-FFF2-40B4-BE49-F238E27FC236}">
                <a16:creationId xmlns:a16="http://schemas.microsoft.com/office/drawing/2014/main" id="{F8C5AEFF-A55C-4576-BEDC-A7F3EA3F757F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56486729"/>
              </p:ext>
            </p:extLst>
          </p:nvPr>
        </p:nvGraphicFramePr>
        <p:xfrm>
          <a:off x="6561138" y="1927225"/>
          <a:ext cx="2906712" cy="292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 useBgFill="1"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CE69DEFB-0E2A-4FCD-B078-45B388AE685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751638" y="3413125"/>
            <a:ext cx="792163" cy="269876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 useBgFill="1"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3E53C386-DF98-48EC-BD25-418EBD445E5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123238" y="3413125"/>
            <a:ext cx="792163" cy="269876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 useBgFill="1"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F9EFE7B5-E897-4347-893F-74BD21364B7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751638" y="3092450"/>
            <a:ext cx="792163" cy="269876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B52BD456-0619-4AE7-8953-DEF49DCE20F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751638" y="3413125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AE65328D-2C17-456C-937D-D00CD280EB7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751638" y="3470275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: фигура 11">
            <a:extLst>
              <a:ext uri="{FF2B5EF4-FFF2-40B4-BE49-F238E27FC236}">
                <a16:creationId xmlns:a16="http://schemas.microsoft.com/office/drawing/2014/main" id="{A741C070-A6BF-48BA-B431-DA9E15E154C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123238" y="3413125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86DF769C-8244-4ABB-8F73-0DDC2AAE2828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123238" y="3470275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D0210573-EDEA-4B1A-AB76-DAB05824BCF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751638" y="3092450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олилиния: фигура 17">
            <a:extLst>
              <a:ext uri="{FF2B5EF4-FFF2-40B4-BE49-F238E27FC236}">
                <a16:creationId xmlns:a16="http://schemas.microsoft.com/office/drawing/2014/main" id="{45613FA5-D4D5-45E6-84A0-6326DCDA884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751638" y="3149600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32"/>
            </p:custDataLst>
          </p:nvPr>
        </p:nvCxnSpPr>
        <p:spPr bwMode="auto">
          <a:xfrm flipV="1">
            <a:off x="6967538" y="18684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33"/>
            </p:custDataLst>
          </p:nvPr>
        </p:nvCxnSpPr>
        <p:spPr bwMode="auto">
          <a:xfrm>
            <a:off x="6967538" y="1868488"/>
            <a:ext cx="137001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34"/>
            </p:custDataLst>
          </p:nvPr>
        </p:nvCxnSpPr>
        <p:spPr bwMode="auto">
          <a:xfrm>
            <a:off x="8337550" y="1868488"/>
            <a:ext cx="0" cy="1331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803B7063-73F2-4999-83D0-168341214442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884988" y="4681538"/>
            <a:ext cx="8874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B1D0C43-5040-4508-8CD2-E2ABC9C4D730}" type="datetime'учте''''н''''''о в ''т''ари''''ф''''но''''й см''ет''''е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чтено в тарифной смет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5CE9F822-3E4B-44B0-9508-FA81671C8B6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226425" y="4681538"/>
            <a:ext cx="94615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9E0B05-86A9-4ABA-BC29-1BCDB11F2EB2}" type="datetime'фак''''''т'''' ''1 полуг''''о''''''д''ия'' ''2''''026 года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акт 1 полугодия 2026 года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6F21DF7-248D-40E4-BFE9-E87F4E89679E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6745288" y="1982788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AA8267-2107-4AD2-9EDA-7F401D69D49C}" type="datetime'5''9''''''''''5'''''''''''''' ''28''''''''0''''''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5 280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9890F14-D235-47F5-A2B8-9FB0A339FAD6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7158038" y="2917825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A6B6E4-FE7F-4B57-833B-AD0762C33225}" type="datetime'''''''5''''''''''''''''94 ''''''6''''''''''1''''''''6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4 61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78B9340-5DAA-462D-A247-7D905F7F2400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064500" y="3238500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BF3CE2-F851-497C-9B96-2DEEF6FFD078}" type="datetime'''''''''''3''''''''''3''''''''''''1 ''''''''5''''''7''''5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31 57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8C3E213F-7B48-467D-AE70-8DB0B6281565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521700" y="3238500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E3CEBDD-318C-4A5E-990A-F8A466509CC8}" type="datetime'''''''''''33''''''''1'''''''''''''''''' ''''5''''7''5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31 57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48B713CD-44A1-4830-8D64-0E11C95DA8ED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9012238" y="4494213"/>
            <a:ext cx="9525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2C1043-5BB7-4B85-9DF1-86595607DCE0}" type="datetime'''''0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>
            <p:custDataLst>
              <p:tags r:id="rId42"/>
            </p:custDataLst>
          </p:nvPr>
        </p:nvSpPr>
        <p:spPr bwMode="auto">
          <a:xfrm>
            <a:off x="7396163" y="1771650"/>
            <a:ext cx="512763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b="1" dirty="0">
                <a:solidFill>
                  <a:schemeClr val="tx1"/>
                </a:solidFill>
              </a:rPr>
              <a:t>-44,3%</a:t>
            </a:r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/>
          <p:cNvSpPr/>
          <p:nvPr>
            <p:custDataLst>
              <p:tags r:id="rId43"/>
            </p:custDataLst>
          </p:nvPr>
        </p:nvSpPr>
        <p:spPr bwMode="auto">
          <a:xfrm>
            <a:off x="9431338" y="3417888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/>
          <p:cNvSpPr/>
          <p:nvPr>
            <p:custDataLst>
              <p:tags r:id="rId44"/>
            </p:custDataLst>
          </p:nvPr>
        </p:nvSpPr>
        <p:spPr bwMode="auto">
          <a:xfrm>
            <a:off x="9431338" y="3605213"/>
            <a:ext cx="160338" cy="120650"/>
          </a:xfrm>
          <a:prstGeom prst="rect">
            <a:avLst/>
          </a:prstGeom>
          <a:solidFill>
            <a:srgbClr val="96969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3" name="Прямоугольник 162"/>
          <p:cNvSpPr/>
          <p:nvPr>
            <p:custDataLst>
              <p:tags r:id="rId45"/>
            </p:custDataLst>
          </p:nvPr>
        </p:nvSpPr>
        <p:spPr bwMode="auto">
          <a:xfrm>
            <a:off x="9431338" y="3792538"/>
            <a:ext cx="160338" cy="120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4" name="Прямоугольник 163"/>
          <p:cNvSpPr/>
          <p:nvPr>
            <p:custDataLst>
              <p:tags r:id="rId46"/>
            </p:custDataLst>
          </p:nvPr>
        </p:nvSpPr>
        <p:spPr bwMode="auto">
          <a:xfrm>
            <a:off x="9642475" y="3414713"/>
            <a:ext cx="2022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E32B484-303D-46B0-A987-DDFD7C84FE07}" type="datetime'''в''с''ег''о о''бъ''ем ока''з''ывае''мых ''''услуг, в'' т.ч'">
              <a:rPr lang="ru-RU" altLang="en-US" sz="900" smtClean="0">
                <a:solidFill>
                  <a:schemeClr val="tx1"/>
                </a:solidFill>
              </a:rPr>
              <a:pPr/>
              <a:t>всего объем оказываемых услуг, в т.ч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5" name="Прямоугольник 164"/>
          <p:cNvSpPr/>
          <p:nvPr>
            <p:custDataLst>
              <p:tags r:id="rId47"/>
            </p:custDataLst>
          </p:nvPr>
        </p:nvSpPr>
        <p:spPr bwMode="auto">
          <a:xfrm>
            <a:off x="9642475" y="3602038"/>
            <a:ext cx="23399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8B13EA-0E6E-4ABF-82A7-4F67D93E7BC5}" type="datetime'''''''Г''КП «''Куатж''ы''луорталык''-3» (в горя''чей вод''е)'">
              <a:rPr lang="ru-RU" altLang="en-US" sz="900" smtClean="0">
                <a:solidFill>
                  <a:schemeClr val="tx1"/>
                </a:solidFill>
              </a:rPr>
              <a:pPr/>
              <a:t>ГКП «Куатжылуорталык-3» (в горячей воде)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/>
          <p:cNvSpPr/>
          <p:nvPr>
            <p:custDataLst>
              <p:tags r:id="rId48"/>
            </p:custDataLst>
          </p:nvPr>
        </p:nvSpPr>
        <p:spPr bwMode="auto">
          <a:xfrm>
            <a:off x="9642476" y="3789363"/>
            <a:ext cx="13620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8BE9C4B-F9F7-4C78-844B-4DC17FEBE07D}" type="datetime'''И''''П'' «Берда''л''ие''''в''''» ''''(''в ''''''п''аре)'">
              <a:rPr lang="ru-RU" altLang="en-US" sz="900" smtClean="0">
                <a:solidFill>
                  <a:schemeClr val="tx1"/>
                </a:solidFill>
              </a:rPr>
              <a:pPr/>
              <a:t>ИП «Бердалиев» (в паре)</a:t>
            </a:fld>
            <a:endParaRPr lang="ru-RU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1962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31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000" dirty="0"/>
              <a:t>Информация о проводимой работе с потребителями </a:t>
            </a:r>
            <a:br>
              <a:rPr lang="ru-RU" sz="2000" dirty="0"/>
            </a:br>
            <a:r>
              <a:rPr lang="ru-RU" sz="2000" dirty="0"/>
              <a:t>регулируемых услуг и качестве предоставляемых услуг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АО «3-Энергоорталык»</a:t>
            </a: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>
                <a:solidFill>
                  <a:schemeClr val="dk1"/>
                </a:solidFill>
              </a:rPr>
              <a:t>Предоставление услуг</a:t>
            </a: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>
                <a:solidFill>
                  <a:schemeClr val="dk1"/>
                </a:solidFill>
              </a:rPr>
              <a:t>Тариф на услугу 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</p:grpSp>
      <p:sp>
        <p:nvSpPr>
          <p:cNvPr id="14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>
              <a:solidFill>
                <a:schemeClr val="lt1"/>
              </a:solidFill>
            </a:endParaRPr>
          </a:p>
        </p:txBody>
      </p:sp>
      <p:sp>
        <p:nvSpPr>
          <p:cNvPr id="15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cxnSp>
        <p:nvCxnSpPr>
          <p:cNvPr id="17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8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>
              <a:solidFill>
                <a:srgbClr val="000000"/>
              </a:solidFill>
            </a:endParaRPr>
          </a:p>
        </p:txBody>
      </p:sp>
      <p:sp>
        <p:nvSpPr>
          <p:cNvPr id="19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обеспечивается 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осуществляется в соответствии с требованиями заключенных Сторонами  договоров и принятых договорных взаимных обязательств.</a:t>
            </a:r>
          </a:p>
        </p:txBody>
      </p:sp>
      <p:sp>
        <p:nvSpPr>
          <p:cNvPr id="20" name="Rounded Rectangle 526"/>
          <p:cNvSpPr/>
          <p:nvPr/>
        </p:nvSpPr>
        <p:spPr bwMode="gray">
          <a:xfrm>
            <a:off x="7213829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оценки проекта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34310" y="6321425"/>
            <a:ext cx="108623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6 года отсутствуют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34311" y="5377626"/>
            <a:ext cx="110433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топительный период  с января по март 2026 </a:t>
            </a:r>
            <a:r>
              <a:rPr lang="ru-RU" sz="1400" dirty="0" err="1"/>
              <a:t>гг</a:t>
            </a:r>
            <a:r>
              <a:rPr lang="ru-RU" sz="1400" dirty="0"/>
              <a:t> прошел без технологических нарушений и отказов оборудования и сбоев в системе теплоснабжения. В течение отопительного периода гидравлические параметры теплоносителя в тепловых магистралях соответствовали расчетным значениям, температура сетевой воды центрального теплоснабжения соответствовала температурному графику.</a:t>
            </a:r>
          </a:p>
        </p:txBody>
      </p:sp>
      <p:sp>
        <p:nvSpPr>
          <p:cNvPr id="23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"/>
          <p:cNvSpPr/>
          <p:nvPr>
            <p:custDataLst>
              <p:tags r:id="rId3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25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cxnSp>
        <p:nvCxnSpPr>
          <p:cNvPr id="26" name="Соединительная линия уступом 25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stCxn id="15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Прямоугольник 28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>
                <a:solidFill>
                  <a:schemeClr val="dk1"/>
                </a:solidFill>
              </a:rPr>
              <a:t>Отчеты перед потребителями</a:t>
            </a:r>
          </a:p>
        </p:txBody>
      </p:sp>
      <p:sp>
        <p:nvSpPr>
          <p:cNvPr id="30" name="Rounded Rectangle 526"/>
          <p:cNvSpPr/>
          <p:nvPr/>
        </p:nvSpPr>
        <p:spPr bwMode="gray">
          <a:xfrm>
            <a:off x="9390292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публикация уведомлений о времени и месте публичных слушаний в средствах массовой информации.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информации, в том числе на </a:t>
            </a:r>
            <a:r>
              <a:rPr lang="ru-RU" sz="1400" dirty="0" err="1"/>
              <a:t>интернет-ресурсе</a:t>
            </a:r>
            <a:endParaRPr lang="ru-RU" sz="1400" dirty="0">
              <a:solidFill>
                <a:schemeClr val="dk1"/>
              </a:solidFill>
            </a:endParaRPr>
          </a:p>
        </p:txBody>
      </p:sp>
      <p:grpSp>
        <p:nvGrpSpPr>
          <p:cNvPr id="35" name="Group 488"/>
          <p:cNvGrpSpPr/>
          <p:nvPr/>
        </p:nvGrpSpPr>
        <p:grpSpPr>
          <a:xfrm>
            <a:off x="317500" y="2891415"/>
            <a:ext cx="371475" cy="371475"/>
            <a:chOff x="-2103438" y="3878264"/>
            <a:chExt cx="371475" cy="371475"/>
          </a:xfrm>
        </p:grpSpPr>
        <p:sp>
          <p:nvSpPr>
            <p:cNvPr id="3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3445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700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NTJZAaNcmDK0E4Qd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ENImmmCzhSLfYWEE6H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p1JJi3XaP8vFSKgFd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vv33cwU_IcYxLytIno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FAprd1Z3WzxYh0RSO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2mekCGarIcDgkaIM.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U4Ok7iQSMelaIJTSf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AnfILiH.bz5oFNUfY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w.of2R2OZ6ftF9nTF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muAF3rqpspaU8E94W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3jLPSTCd0Sr_2yXNG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hwwk2TJ0oxnfxHdjOX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nAve_upH4T0n7DH_8y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UCpDHWv4l5K_CBhmF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Ae2NuNdwv06HqPDNh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SLoqzZyQsST4UVt_Tb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zFK.RDFX_d0eYL2yzx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YAeFBPYPN9CzsN7Yio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sgLvhaDXC_G6ouMs5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lVeaIWaANYFccCKa9S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T8jZbVoOJ1Kntj0Aof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YKnYXrfAamXbZwX9RP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R0ryC49z9DcB1lY6AH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zo2Z6TjXHY0E2ItsMW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CVUzswBgYQmVymlNy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5k9gK0er6XxR9d_SCe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CrANAqVgwp97F_wCB_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99mhzejDV8omD_1uz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AW3ydlYsaeE0KiZMp.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gMXP4.VK.TPv9zTE0n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VbAx_hJTVXjK_53X1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dt6WmT_roJgSRH7u1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8EVYlk3hnKjVvkR3qn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kGQVo1AT8l3zk0q19d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6wEqH6AS5mPdje61BW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Fxg2XPR99JG6lb2ky.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UvgIqnWEJwgAVj38Bh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fxiwO8qes6O0cJ9RCS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_oeZ9urpNQ8DAehP7e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s1d53oRC9kCShr8Ya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sgjcxM3O6stogufAau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mSguOT.CJeRSNyEUsg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bfA2fTUpPXlMXYm0S5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cyUzsKqBaonVEJfpL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DZEPLVpMf49sEPp2x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f_BpFkV2ssqYewisYp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hYkHOTQiqHneYS6tWGk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2Xthqx_iW54wpULRkm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DED1A89-D55A-4450-B969-44C1588A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AE5A532-DC4D-4079-9E31-89E1596CB804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41782C3F-0F27-418F-915F-C8B694137E4B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53E5EF3A-C15E-46B0-A7D7-512D7295551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B890416-D95C-43B0-AC60-C88971DEA5B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335</TotalTime>
  <Words>2552</Words>
  <Application>Microsoft Office PowerPoint</Application>
  <PresentationFormat>Широкоэкранный</PresentationFormat>
  <Paragraphs>71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Montserrat</vt:lpstr>
      <vt:lpstr>Open Sans</vt:lpstr>
      <vt:lpstr>Times New Roman</vt:lpstr>
      <vt:lpstr>Wingdings</vt:lpstr>
      <vt:lpstr>ERG</vt:lpstr>
      <vt:lpstr>Слайд think-cell</vt:lpstr>
      <vt:lpstr>Презентация PowerPoint</vt:lpstr>
      <vt:lpstr>Общие сведения </vt:lpstr>
      <vt:lpstr>Информация об исполнении утвержденной инвестиционной программы  АО «3-Энергоорталык» по итогам 1 полугодия 2026 года 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6 года (1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(2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(3 из 3)</vt:lpstr>
      <vt:lpstr>Информация о соблюдении показателей качества и надежности регулируемых услуг и достижении показателей эффективности деятельности по итогам 1 полугодия 2026года </vt:lpstr>
      <vt:lpstr>Информация об основных финансово - экономических показателях по услуге производство тепловой энергии и об объемах предоставленных регулируемых услуг  </vt:lpstr>
      <vt:lpstr>Информация о проводимой работе с потребителями  регулируемых услуг и качестве предоставляемых услуг</vt:lpstr>
      <vt:lpstr>Информация о качестве предоставляемых регулируемых услуг</vt:lpstr>
      <vt:lpstr>Информация о перспективах деятельности (планы развития), в том числе возможных изменениях тарифов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Anna Martynenko</cp:lastModifiedBy>
  <cp:revision>1383</cp:revision>
  <cp:lastPrinted>2023-07-12T13:21:41Z</cp:lastPrinted>
  <dcterms:created xsi:type="dcterms:W3CDTF">2017-11-25T12:09:27Z</dcterms:created>
  <dcterms:modified xsi:type="dcterms:W3CDTF">2026-07-10T08:3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